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0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DD6EA2-EECD-493A-A37C-E0006BFF8DD1}" v="5" dt="2024-09-06T08:57:39.3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64" d="100"/>
          <a:sy n="64" d="100"/>
        </p:scale>
        <p:origin x="1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CEDD6EA2-EECD-493A-A37C-E0006BFF8DD1}"/>
    <pc:docChg chg="custSel addSld delSld modSld modMainMaster replTag">
      <pc:chgData name="vonWaldow, Ulrich" userId="c64b3fe1-2fbf-4408-adc4-30add62e991f" providerId="ADAL" clId="{CEDD6EA2-EECD-493A-A37C-E0006BFF8DD1}" dt="2024-09-09T12:31:20.958" v="69" actId="20577"/>
      <pc:docMkLst>
        <pc:docMk/>
      </pc:docMkLst>
      <pc:sldChg chg="modSp mod modShow">
        <pc:chgData name="vonWaldow, Ulrich" userId="c64b3fe1-2fbf-4408-adc4-30add62e991f" providerId="ADAL" clId="{CEDD6EA2-EECD-493A-A37C-E0006BFF8DD1}" dt="2024-09-09T12:31:20.958" v="69" actId="20577"/>
        <pc:sldMkLst>
          <pc:docMk/>
          <pc:sldMk cId="2116952522" sldId="260"/>
        </pc:sldMkLst>
        <pc:spChg chg="mod">
          <ac:chgData name="vonWaldow, Ulrich" userId="c64b3fe1-2fbf-4408-adc4-30add62e991f" providerId="ADAL" clId="{CEDD6EA2-EECD-493A-A37C-E0006BFF8DD1}" dt="2024-09-03T13:33:54.955" v="9" actId="948"/>
          <ac:spMkLst>
            <pc:docMk/>
            <pc:sldMk cId="2116952522" sldId="260"/>
            <ac:spMk id="2" creationId="{0750FB05-03B3-31D6-13E9-45859B581481}"/>
          </ac:spMkLst>
        </pc:spChg>
        <pc:spChg chg="mod">
          <ac:chgData name="vonWaldow, Ulrich" userId="c64b3fe1-2fbf-4408-adc4-30add62e991f" providerId="ADAL" clId="{CEDD6EA2-EECD-493A-A37C-E0006BFF8DD1}" dt="2024-09-06T08:57:30.114" v="52" actId="20577"/>
          <ac:spMkLst>
            <pc:docMk/>
            <pc:sldMk cId="2116952522" sldId="260"/>
            <ac:spMk id="3" creationId="{5657A0C4-C8B8-C20A-40F4-198DBEFDF301}"/>
          </ac:spMkLst>
        </pc:spChg>
        <pc:spChg chg="mod">
          <ac:chgData name="vonWaldow, Ulrich" userId="c64b3fe1-2fbf-4408-adc4-30add62e991f" providerId="ADAL" clId="{CEDD6EA2-EECD-493A-A37C-E0006BFF8DD1}" dt="2024-09-06T08:57:25.484" v="36" actId="20577"/>
          <ac:spMkLst>
            <pc:docMk/>
            <pc:sldMk cId="2116952522" sldId="260"/>
            <ac:spMk id="4" creationId="{C4B8857D-D18B-D3A8-4063-0B60FC536EA4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5" creationId="{7E26BC16-C872-8FD7-00F3-E5DE233459E0}"/>
          </ac:spMkLst>
        </pc:spChg>
        <pc:spChg chg="mod">
          <ac:chgData name="vonWaldow, Ulrich" userId="c64b3fe1-2fbf-4408-adc4-30add62e991f" providerId="ADAL" clId="{CEDD6EA2-EECD-493A-A37C-E0006BFF8DD1}" dt="2024-09-09T12:31:20.958" v="69" actId="20577"/>
          <ac:spMkLst>
            <pc:docMk/>
            <pc:sldMk cId="2116952522" sldId="260"/>
            <ac:spMk id="6" creationId="{1CE36457-C1FA-C38E-001A-01F11268510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1" creationId="{7597AA68-3067-A16D-4DB5-7DD23E954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2" creationId="{E7A604DC-B6DB-A34E-DBFC-D6C8FCFA6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3" creationId="{B9CEF329-77B0-45F3-F4A4-CFC6F144639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4" creationId="{B9E3B2C7-A3AB-80F7-731A-D2A1C29939E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5" creationId="{BC1B5B6C-0F79-A84B-7B56-8EBD941A875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6" creationId="{5FCFA50D-210F-D3E8-C83E-CB744D4BC62E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7" creationId="{035946D2-40C0-8A7C-809A-AD81A41491A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8" creationId="{4FEA0697-0F8C-CA8F-2575-383C5F5E2BD1}"/>
          </ac:spMkLst>
        </pc:spChg>
        <pc:spChg chg="mod">
          <ac:chgData name="vonWaldow, Ulrich" userId="c64b3fe1-2fbf-4408-adc4-30add62e991f" providerId="ADAL" clId="{CEDD6EA2-EECD-493A-A37C-E0006BFF8DD1}" dt="2024-09-03T13:36:39.479" v="15"/>
          <ac:spMkLst>
            <pc:docMk/>
            <pc:sldMk cId="2116952522" sldId="260"/>
            <ac:spMk id="33" creationId="{963C7E66-7E87-EC4E-912D-AAABFA41962C}"/>
          </ac:spMkLst>
        </pc:spChg>
        <pc:spChg chg="mod">
          <ac:chgData name="vonWaldow, Ulrich" userId="c64b3fe1-2fbf-4408-adc4-30add62e991f" providerId="ADAL" clId="{CEDD6EA2-EECD-493A-A37C-E0006BFF8DD1}" dt="2024-09-03T13:36:30.805" v="14"/>
          <ac:spMkLst>
            <pc:docMk/>
            <pc:sldMk cId="2116952522" sldId="260"/>
            <ac:spMk id="34" creationId="{4D61D5E3-D4B0-D197-98C8-14D601171576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5" creationId="{E09947DD-296C-6CD4-73A7-D185D8FA41D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6" creationId="{14C0E3A6-12DA-9015-E731-1C738F77F431}"/>
          </ac:spMkLst>
        </pc:spChg>
        <pc:graphicFrameChg chg="mod">
          <ac:chgData name="vonWaldow, Ulrich" userId="c64b3fe1-2fbf-4408-adc4-30add62e991f" providerId="ADAL" clId="{CEDD6EA2-EECD-493A-A37C-E0006BFF8DD1}" dt="2024-09-03T13:33:54.963" v="13"/>
          <ac:graphicFrameMkLst>
            <pc:docMk/>
            <pc:sldMk cId="2116952522" sldId="260"/>
            <ac:graphicFrameMk id="19" creationId="{034C62C7-F4F2-34AD-9078-54E39676EF91}"/>
          </ac:graphicFrameMkLst>
        </pc:graphicFrameChg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743316995" sldId="261"/>
        </pc:sldMkLst>
      </pc:sldChg>
      <pc:sldChg chg="new del">
        <pc:chgData name="vonWaldow, Ulrich" userId="c64b3fe1-2fbf-4408-adc4-30add62e991f" providerId="ADAL" clId="{CEDD6EA2-EECD-493A-A37C-E0006BFF8DD1}" dt="2024-09-03T13:45:48.148" v="17" actId="47"/>
        <pc:sldMkLst>
          <pc:docMk/>
          <pc:sldMk cId="3291590117" sldId="261"/>
        </pc:sldMkLst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1636317749" sldId="262"/>
        </pc:sldMkLst>
      </pc:sldChg>
      <pc:sldMasterChg chg="delSldLayout modSldLayout">
        <pc:chgData name="vonWaldow, Ulrich" userId="c64b3fe1-2fbf-4408-adc4-30add62e991f" providerId="ADAL" clId="{CEDD6EA2-EECD-493A-A37C-E0006BFF8DD1}" dt="2024-09-06T08:57:48.833" v="55" actId="2696"/>
        <pc:sldMasterMkLst>
          <pc:docMk/>
          <pc:sldMasterMk cId="3620642421" sldId="2147483927"/>
        </pc:sldMasterMkLst>
        <pc:sldLayoutChg chg="modSp">
          <pc:chgData name="vonWaldow, Ulrich" userId="c64b3fe1-2fbf-4408-adc4-30add62e991f" providerId="ADAL" clId="{CEDD6EA2-EECD-493A-A37C-E0006BFF8DD1}" dt="2024-09-06T08:57:39.335" v="53" actId="404"/>
          <pc:sldLayoutMkLst>
            <pc:docMk/>
            <pc:sldMasterMk cId="3620642421" sldId="2147483927"/>
            <pc:sldLayoutMk cId="960772129" sldId="2147483958"/>
          </pc:sldLayoutMkLst>
          <pc:spChg chg="mod">
            <ac:chgData name="vonWaldow, Ulrich" userId="c64b3fe1-2fbf-4408-adc4-30add62e991f" providerId="ADAL" clId="{CEDD6EA2-EECD-493A-A37C-E0006BFF8DD1}" dt="2024-09-06T08:57:39.335" v="53" actId="404"/>
            <ac:spMkLst>
              <pc:docMk/>
              <pc:sldMasterMk cId="3620642421" sldId="2147483927"/>
              <pc:sldLayoutMk cId="960772129" sldId="2147483958"/>
              <ac:spMk id="20" creationId="{CCC1D9B0-3E3B-6A81-82B1-B48232D64945}"/>
            </ac:spMkLst>
          </pc:spChg>
          <pc:spChg chg="mod">
            <ac:chgData name="vonWaldow, Ulrich" userId="c64b3fe1-2fbf-4408-adc4-30add62e991f" providerId="ADAL" clId="{CEDD6EA2-EECD-493A-A37C-E0006BFF8DD1}" dt="2024-09-06T08:57:39.335" v="53" actId="404"/>
            <ac:spMkLst>
              <pc:docMk/>
              <pc:sldMasterMk cId="3620642421" sldId="2147483927"/>
              <pc:sldLayoutMk cId="960772129" sldId="2147483958"/>
              <ac:spMk id="23" creationId="{CA377B26-3BA2-4654-6FCA-6098BB9E0117}"/>
            </ac:spMkLst>
          </pc:spChg>
          <pc:spChg chg="mod">
            <ac:chgData name="vonWaldow, Ulrich" userId="c64b3fe1-2fbf-4408-adc4-30add62e991f" providerId="ADAL" clId="{CEDD6EA2-EECD-493A-A37C-E0006BFF8DD1}" dt="2024-09-06T08:57:39.335" v="53" actId="404"/>
            <ac:spMkLst>
              <pc:docMk/>
              <pc:sldMasterMk cId="3620642421" sldId="2147483927"/>
              <pc:sldLayoutMk cId="960772129" sldId="2147483958"/>
              <ac:spMk id="25" creationId="{0D6A690C-8E97-EFC0-430C-4028B1A71B84}"/>
            </ac:spMkLst>
          </pc:spChg>
          <pc:spChg chg="mod">
            <ac:chgData name="vonWaldow, Ulrich" userId="c64b3fe1-2fbf-4408-adc4-30add62e991f" providerId="ADAL" clId="{CEDD6EA2-EECD-493A-A37C-E0006BFF8DD1}" dt="2024-09-06T08:57:39.335" v="53" actId="404"/>
            <ac:spMkLst>
              <pc:docMk/>
              <pc:sldMasterMk cId="3620642421" sldId="2147483927"/>
              <pc:sldLayoutMk cId="960772129" sldId="2147483958"/>
              <ac:spMk id="31" creationId="{28C3A46C-1471-B32F-D881-A63D1A5126CC}"/>
            </ac:spMkLst>
          </pc:spChg>
        </pc:sldLayoutChg>
        <pc:sldLayoutChg chg="del">
          <pc:chgData name="vonWaldow, Ulrich" userId="c64b3fe1-2fbf-4408-adc4-30add62e991f" providerId="ADAL" clId="{CEDD6EA2-EECD-493A-A37C-E0006BFF8DD1}" dt="2024-09-06T08:57:48.824" v="54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del">
          <pc:chgData name="vonWaldow, Ulrich" userId="c64b3fe1-2fbf-4408-adc4-30add62e991f" providerId="ADAL" clId="{CEDD6EA2-EECD-493A-A37C-E0006BFF8DD1}" dt="2024-09-06T08:57:48.833" v="55" actId="2696"/>
          <pc:sldLayoutMkLst>
            <pc:docMk/>
            <pc:sldMasterMk cId="3620642421" sldId="2147483927"/>
            <pc:sldLayoutMk cId="610450036" sldId="214748396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45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arallelogramm 53">
            <a:extLst>
              <a:ext uri="{FF2B5EF4-FFF2-40B4-BE49-F238E27FC236}">
                <a16:creationId xmlns:a16="http://schemas.microsoft.com/office/drawing/2014/main" id="{12D466F9-A3C9-4AE5-DA66-A5DC4105C7D6}"/>
              </a:ext>
            </a:extLst>
          </p:cNvPr>
          <p:cNvSpPr/>
          <p:nvPr userDrawn="1"/>
        </p:nvSpPr>
        <p:spPr>
          <a:xfrm>
            <a:off x="4485235" y="1399199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" name="Rechteck 30">
            <a:extLst>
              <a:ext uri="{FF2B5EF4-FFF2-40B4-BE49-F238E27FC236}">
                <a16:creationId xmlns:a16="http://schemas.microsoft.com/office/drawing/2014/main" id="{95E970B6-3998-A5AF-6789-D415965D6A89}"/>
              </a:ext>
            </a:extLst>
          </p:cNvPr>
          <p:cNvSpPr/>
          <p:nvPr userDrawn="1"/>
        </p:nvSpPr>
        <p:spPr>
          <a:xfrm>
            <a:off x="0" y="1052512"/>
            <a:ext cx="3969600" cy="5805487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0" rtlCol="0" anchor="t"/>
          <a:lstStyle/>
          <a:p>
            <a:pPr algn="l"/>
            <a:r>
              <a:rPr lang="de-DE" sz="2000" b="1" dirty="0"/>
              <a:t>The </a:t>
            </a:r>
            <a:r>
              <a:rPr lang="de-DE" sz="2000" b="1" dirty="0" err="1"/>
              <a:t>impact</a:t>
            </a:r>
            <a:endParaRPr lang="de-DE" sz="2000" b="1" dirty="0"/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8200" y="3498226"/>
            <a:ext cx="7141359" cy="1276974"/>
          </a:xfrm>
        </p:spPr>
        <p:txBody>
          <a:bodyPr lIns="36000" tIns="90000" rIns="36000" bIns="36000" numCol="2" spcCol="18000">
            <a:noAutofit/>
          </a:bodyPr>
          <a:lstStyle>
            <a:lvl1pPr marL="171450" indent="-171450" algn="l">
              <a:lnSpc>
                <a:spcPts val="17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2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D6C89E7-EEE0-37D4-244F-613C181533AE}"/>
              </a:ext>
            </a:extLst>
          </p:cNvPr>
          <p:cNvSpPr/>
          <p:nvPr/>
        </p:nvSpPr>
        <p:spPr>
          <a:xfrm>
            <a:off x="4485235" y="3179302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D42B26F-D6DE-CEF7-27D8-AB1F29DD79A2}"/>
              </a:ext>
            </a:extLst>
          </p:cNvPr>
          <p:cNvSpPr/>
          <p:nvPr/>
        </p:nvSpPr>
        <p:spPr>
          <a:xfrm>
            <a:off x="4269235" y="3122764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Route zwei Stecknadeln mit Weg mit einfarbiger Füllung">
            <a:extLst>
              <a:ext uri="{FF2B5EF4-FFF2-40B4-BE49-F238E27FC236}">
                <a16:creationId xmlns:a16="http://schemas.microsoft.com/office/drawing/2014/main" id="{17540618-D0CF-3E13-FDF4-E24B33E70A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0036" y="3223564"/>
            <a:ext cx="230400" cy="230400"/>
          </a:xfrm>
          <a:prstGeom prst="rect">
            <a:avLst/>
          </a:prstGeom>
        </p:spPr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8201" y="1718123"/>
            <a:ext cx="7141359" cy="459629"/>
          </a:xfrm>
        </p:spPr>
        <p:txBody>
          <a:bodyPr lIns="36000" tIns="90000" rIns="36000" bIns="36000">
            <a:spAutoFit/>
          </a:bodyPr>
          <a:lstStyle>
            <a:lvl1pPr marL="0" indent="0" algn="just">
              <a:lnSpc>
                <a:spcPts val="1700"/>
              </a:lnSpc>
              <a:spcBef>
                <a:spcPts val="0"/>
              </a:spcBef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sgangssituation &amp; Herausforderung (Fließtext, ca. 80 Wörter)</a:t>
            </a:r>
            <a:br>
              <a:rPr lang="de-DE" dirty="0"/>
            </a:br>
            <a:r>
              <a:rPr lang="de-DE" dirty="0"/>
              <a:t>Schriftgröße 1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DC961F9-FC46-E3B1-59C4-025FA58CF6EB}"/>
              </a:ext>
            </a:extLst>
          </p:cNvPr>
          <p:cNvSpPr/>
          <p:nvPr userDrawn="1"/>
        </p:nvSpPr>
        <p:spPr>
          <a:xfrm>
            <a:off x="4269235" y="1342661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72B80359-4D32-6F57-D7DE-1BA78CAB71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370035" y="1443461"/>
            <a:ext cx="230400" cy="230400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9149FCD-97B8-C54A-E02A-F1C3B6BB82FD}"/>
              </a:ext>
            </a:extLst>
          </p:cNvPr>
          <p:cNvGrpSpPr>
            <a:grpSpLocks/>
          </p:cNvGrpSpPr>
          <p:nvPr userDrawn="1"/>
        </p:nvGrpSpPr>
        <p:grpSpPr>
          <a:xfrm>
            <a:off x="363762" y="1378661"/>
            <a:ext cx="360000" cy="360000"/>
            <a:chOff x="349823" y="4496646"/>
            <a:chExt cx="288000" cy="288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1D06FC2E-CEF9-2957-F00B-1BE607E49ECE}"/>
                </a:ext>
              </a:extLst>
            </p:cNvPr>
            <p:cNvSpPr/>
            <p:nvPr/>
          </p:nvSpPr>
          <p:spPr>
            <a:xfrm>
              <a:off x="349823" y="4496646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25" tIns="42862" rIns="85725" bIns="428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Grafik 29" descr="Aufwärtstrend mit einfarbiger Füllung">
              <a:extLst>
                <a:ext uri="{FF2B5EF4-FFF2-40B4-BE49-F238E27FC236}">
                  <a16:creationId xmlns:a16="http://schemas.microsoft.com/office/drawing/2014/main" id="{AAB911AD-2B48-71F8-2E22-4D1217181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8623" y="4525446"/>
              <a:ext cx="230400" cy="230400"/>
            </a:xfrm>
            <a:prstGeom prst="rect">
              <a:avLst/>
            </a:prstGeom>
          </p:spPr>
        </p:pic>
      </p:grp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8200" y="5019270"/>
            <a:ext cx="7141360" cy="11114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txBody>
          <a:bodyPr wrap="square" lIns="360000" tIns="180000" rIns="360000" bIns="180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E0BF07-DC96-CD42-353F-15654423F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837" t="12940" r="8202" b="14982"/>
          <a:stretch/>
        </p:blipFill>
        <p:spPr>
          <a:xfrm>
            <a:off x="335569" y="6529265"/>
            <a:ext cx="789373" cy="209618"/>
          </a:xfrm>
          <a:prstGeom prst="rect">
            <a:avLst/>
          </a:prstGeom>
        </p:spPr>
      </p:pic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8DF4CF68-D840-AB43-DD04-B3A3A5F6347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40910" y="2045049"/>
            <a:ext cx="3628690" cy="443198"/>
          </a:xfrm>
        </p:spPr>
        <p:txBody>
          <a:bodyPr lIns="36000" tIns="0" rIns="3600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CCC1D9B0-3E3B-6A81-82B1-B48232D6494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40910" y="2488247"/>
            <a:ext cx="3628690" cy="606780"/>
          </a:xfrm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1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955C852B-03F5-26F0-4444-E04E0D0DC09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40910" y="3095027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2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CA377B26-3BA2-4654-6FCA-6098BB9E011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40910" y="3538225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2</a:t>
            </a:r>
          </a:p>
        </p:txBody>
      </p:sp>
      <p:sp>
        <p:nvSpPr>
          <p:cNvPr id="24" name="Textplatzhalter 33">
            <a:extLst>
              <a:ext uri="{FF2B5EF4-FFF2-40B4-BE49-F238E27FC236}">
                <a16:creationId xmlns:a16="http://schemas.microsoft.com/office/drawing/2014/main" id="{9F356882-59BA-8A22-1C87-7353807F2708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340910" y="4145005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3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0D6A690C-8E97-EFC0-430C-4028B1A71B8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40910" y="4588203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3</a:t>
            </a:r>
          </a:p>
        </p:txBody>
      </p:sp>
      <p:sp>
        <p:nvSpPr>
          <p:cNvPr id="26" name="Textplatzhalter 33">
            <a:extLst>
              <a:ext uri="{FF2B5EF4-FFF2-40B4-BE49-F238E27FC236}">
                <a16:creationId xmlns:a16="http://schemas.microsoft.com/office/drawing/2014/main" id="{CDC28740-E260-DED9-33B1-8A6AC4CBBB7C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40910" y="5194983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4</a:t>
            </a:r>
          </a:p>
        </p:txBody>
      </p:sp>
      <p:sp>
        <p:nvSpPr>
          <p:cNvPr id="31" name="Textplatzhalter 33">
            <a:extLst>
              <a:ext uri="{FF2B5EF4-FFF2-40B4-BE49-F238E27FC236}">
                <a16:creationId xmlns:a16="http://schemas.microsoft.com/office/drawing/2014/main" id="{28C3A46C-1471-B32F-D881-A63D1A5126C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40910" y="5638181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4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BD8967D-16E0-5F11-0352-4C03683458DE}"/>
              </a:ext>
            </a:extLst>
          </p:cNvPr>
          <p:cNvSpPr txBox="1"/>
          <p:nvPr userDrawn="1"/>
        </p:nvSpPr>
        <p:spPr>
          <a:xfrm>
            <a:off x="4485236" y="1435550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Initial Situation &amp; Challenge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EB6F190-51CC-A0C4-6015-940E4AAD7C94}"/>
              </a:ext>
            </a:extLst>
          </p:cNvPr>
          <p:cNvSpPr txBox="1"/>
          <p:nvPr userDrawn="1"/>
        </p:nvSpPr>
        <p:spPr>
          <a:xfrm>
            <a:off x="4485235" y="3215654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kern="0" dirty="0" err="1">
                <a:solidFill>
                  <a:schemeClr val="bg1"/>
                </a:solidFill>
                <a:latin typeface="Arial" panose="020B0604020202020204"/>
              </a:rPr>
              <a:t>Our</a:t>
            </a:r>
            <a:r>
              <a:rPr lang="de-DE" sz="1600" b="1" kern="0" dirty="0">
                <a:solidFill>
                  <a:schemeClr val="bg1"/>
                </a:solidFill>
                <a:latin typeface="Arial" panose="020B0604020202020204"/>
              </a:rPr>
              <a:t> Solution Concept</a:t>
            </a:r>
          </a:p>
        </p:txBody>
      </p:sp>
    </p:spTree>
    <p:extLst>
      <p:ext uri="{BB962C8B-B14F-4D97-AF65-F5344CB8AC3E}">
        <p14:creationId xmlns:p14="http://schemas.microsoft.com/office/powerpoint/2010/main" val="960772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34C62C7-F4F2-34AD-9078-54E39676EF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42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C62C7-F4F2-34AD-9078-54E39676E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750FB05-03B3-31D6-13E9-45859B581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57A0C4-C8B8-C20A-40F4-198DBEFDF3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200" y="3498226"/>
            <a:ext cx="7141359" cy="1276974"/>
          </a:xfrm>
        </p:spPr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B8857D-D18B-D3A8-4063-0B60FC536E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201" y="1718123"/>
            <a:ext cx="7141359" cy="325811"/>
          </a:xfrm>
        </p:spPr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26BC16-C872-8FD7-00F3-E5DE23345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8200" y="5254719"/>
            <a:ext cx="7141360" cy="640515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CE36457-C1FA-C38E-001A-01F1126851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/>
              <a:t>Industry | Company description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63C7E66-7E87-EC4E-912D-AAABFA419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4D61D5E3-D4B0-D197-98C8-14D6011715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E09947DD-296C-6CD4-73A7-D185D8FA41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14C0E3A6-12DA-9015-E731-1C738F77F4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97AA68-3067-A16D-4DB5-7DD23E954B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0910" y="2045049"/>
            <a:ext cx="3628690" cy="492443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7A604DC-B6DB-A34E-DBFC-D6C8FCFA6B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0910" y="2488247"/>
            <a:ext cx="3628690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9CEF329-77B0-45F3-F4A4-CFC6F1446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0910" y="3095027"/>
            <a:ext cx="3628690" cy="443198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9E3B2C7-A3AB-80F7-731A-D2A1C29939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910" y="3538225"/>
            <a:ext cx="3628690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C1B5B6C-0F79-A84B-7B56-8EBD941A8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40910" y="4145005"/>
            <a:ext cx="3628690" cy="443198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FCFA50D-210F-D3E8-C83E-CB744D4BC6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910" y="4588203"/>
            <a:ext cx="3628690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35946D2-40C0-8A7C-809A-AD81A41491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0910" y="5194983"/>
            <a:ext cx="3628690" cy="443198"/>
          </a:xfrm>
        </p:spPr>
        <p:txBody>
          <a:bodyPr/>
          <a:lstStyle/>
          <a:p>
            <a:r>
              <a:rPr lang="en-US" dirty="0"/>
              <a:t>KPI 4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FEA0697-0F8C-CA8F-2575-383C5F5E2BD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0910" y="5638181"/>
            <a:ext cx="3628690" cy="606780"/>
          </a:xfrm>
        </p:spPr>
        <p:txBody>
          <a:bodyPr/>
          <a:lstStyle/>
          <a:p>
            <a:r>
              <a:rPr lang="en-US" dirty="0"/>
              <a:t>Description KPI 4</a:t>
            </a:r>
          </a:p>
        </p:txBody>
      </p:sp>
    </p:spTree>
    <p:extLst>
      <p:ext uri="{BB962C8B-B14F-4D97-AF65-F5344CB8AC3E}">
        <p14:creationId xmlns:p14="http://schemas.microsoft.com/office/powerpoint/2010/main" val="2116952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</Words>
  <Application>Microsoft Office PowerPoint</Application>
  <PresentationFormat>Breitbild</PresentationFormat>
  <Paragraphs>1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9T12:31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